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wmf" ContentType="image/x-w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</p:sldMasterIdLst>
  <p:notesMasterIdLst>
    <p:notesMasterId r:id="rId6"/>
  </p:notesMasterIdLst>
  <p:handoutMasterIdLst>
    <p:handoutMasterId r:id="rId7"/>
  </p:handoutMasterIdLst>
  <p:sldIdLst>
    <p:sldId id="256" r:id="rId5"/>
  </p:sldIdLst>
  <p:sldSz cx="12161838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8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77" autoAdjust="0"/>
    <p:restoredTop sz="94426" autoAdjust="0"/>
  </p:normalViewPr>
  <p:slideViewPr>
    <p:cSldViewPr snapToGrid="0" snapToObjects="1">
      <p:cViewPr varScale="1">
        <p:scale>
          <a:sx n="130" d="100"/>
          <a:sy n="130" d="100"/>
        </p:scale>
        <p:origin x="224" y="280"/>
      </p:cViewPr>
      <p:guideLst>
        <p:guide orient="horz" pos="2117"/>
        <p:guide pos="38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wmf"/><Relationship Id="rId2" Type="http://schemas.openxmlformats.org/officeDocument/2006/relationships/image" Target="../media/image8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58750" y="601663"/>
            <a:ext cx="7640638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pg num">
            <a:extLst>
              <a:ext uri="{FF2B5EF4-FFF2-40B4-BE49-F238E27FC236}">
                <a16:creationId xmlns:a16="http://schemas.microsoft.com/office/drawing/2014/main" xmlns="" id="{8DA2419F-342E-4FBE-889A-2D87016AC40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598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598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598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598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598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7A0DED9-FC00-40BA-8036-DD5950DAD5A4}" type="slidenum">
              <a:rPr lang="en-US" altLang="en-US" sz="100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1</a:t>
            </a:fld>
            <a:endParaRPr lang="en-US" altLang="en-US" sz="1000" dirty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6499" name="Rectangle 4">
            <a:extLst>
              <a:ext uri="{FF2B5EF4-FFF2-40B4-BE49-F238E27FC236}">
                <a16:creationId xmlns:a16="http://schemas.microsoft.com/office/drawing/2014/main" xmlns="" id="{F84D84A4-A2B5-4F58-B90F-9BAEA21F1E4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7463" y="758825"/>
            <a:ext cx="6748462" cy="3730625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6500" name="Rectangle 5">
            <a:extLst>
              <a:ext uri="{FF2B5EF4-FFF2-40B4-BE49-F238E27FC236}">
                <a16:creationId xmlns:a16="http://schemas.microsoft.com/office/drawing/2014/main" xmlns="" id="{DCB63443-7E11-4435-AC69-1268F2D1EEB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24471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14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49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50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6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5.jpg"/><Relationship Id="rId6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7.bin"/><Relationship Id="rId1" Type="http://schemas.openxmlformats.org/officeDocument/2006/relationships/vmlDrawing" Target="../drawings/vmlDrawing6.vml"/><Relationship Id="rId2" Type="http://schemas.openxmlformats.org/officeDocument/2006/relationships/tags" Target="../tags/tag1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112.xml"/><Relationship Id="rId2" Type="http://schemas.openxmlformats.org/officeDocument/2006/relationships/tags" Target="../tags/tag113.xml"/><Relationship Id="rId3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14.xml"/><Relationship Id="rId2" Type="http://schemas.openxmlformats.org/officeDocument/2006/relationships/tags" Target="../tags/tag115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4/2018 2:29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830941" y="3047"/>
            <a:ext cx="9333052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456020" y="36514"/>
            <a:ext cx="404197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8132900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8132899" y="6410649"/>
            <a:ext cx="40310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4/2018 2:29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78332" y="3581761"/>
            <a:ext cx="8457178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77580" y="155449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78333" y="6267797"/>
            <a:ext cx="481028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83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654007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4/2018 2:29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471" userDrawn="1">
          <p15:clr>
            <a:srgbClr val="F26B43"/>
          </p15:clr>
        </p15:guide>
        <p15:guide id="6" pos="100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4" pos="96">
          <p15:clr>
            <a:srgbClr val="000000"/>
          </p15:clr>
        </p15:guide>
        <p15:guide id="5" pos="5399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8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8.xml"/><Relationship Id="rId21" Type="http://schemas.openxmlformats.org/officeDocument/2006/relationships/tags" Target="../tags/tag49.xml"/><Relationship Id="rId22" Type="http://schemas.openxmlformats.org/officeDocument/2006/relationships/tags" Target="../tags/tag50.xml"/><Relationship Id="rId23" Type="http://schemas.openxmlformats.org/officeDocument/2006/relationships/tags" Target="../tags/tag51.xml"/><Relationship Id="rId24" Type="http://schemas.openxmlformats.org/officeDocument/2006/relationships/tags" Target="../tags/tag52.xml"/><Relationship Id="rId25" Type="http://schemas.openxmlformats.org/officeDocument/2006/relationships/tags" Target="../tags/tag53.xml"/><Relationship Id="rId26" Type="http://schemas.openxmlformats.org/officeDocument/2006/relationships/tags" Target="../tags/tag54.xml"/><Relationship Id="rId27" Type="http://schemas.openxmlformats.org/officeDocument/2006/relationships/tags" Target="../tags/tag55.xml"/><Relationship Id="rId28" Type="http://schemas.openxmlformats.org/officeDocument/2006/relationships/tags" Target="../tags/tag56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30" Type="http://schemas.openxmlformats.org/officeDocument/2006/relationships/tags" Target="../tags/tag58.xml"/><Relationship Id="rId31" Type="http://schemas.openxmlformats.org/officeDocument/2006/relationships/tags" Target="../tags/tag59.xml"/><Relationship Id="rId32" Type="http://schemas.openxmlformats.org/officeDocument/2006/relationships/tags" Target="../tags/tag60.xml"/><Relationship Id="rId9" Type="http://schemas.openxmlformats.org/officeDocument/2006/relationships/tags" Target="../tags/tag37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Relationship Id="rId33" Type="http://schemas.openxmlformats.org/officeDocument/2006/relationships/tags" Target="../tags/tag61.xml"/><Relationship Id="rId34" Type="http://schemas.openxmlformats.org/officeDocument/2006/relationships/tags" Target="../tags/tag62.xml"/><Relationship Id="rId35" Type="http://schemas.openxmlformats.org/officeDocument/2006/relationships/oleObject" Target="../embeddings/oleObject3.bin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1" Type="http://schemas.openxmlformats.org/officeDocument/2006/relationships/tags" Target="../tags/tag39.xml"/><Relationship Id="rId12" Type="http://schemas.openxmlformats.org/officeDocument/2006/relationships/tags" Target="../tags/tag40.xml"/><Relationship Id="rId13" Type="http://schemas.openxmlformats.org/officeDocument/2006/relationships/tags" Target="../tags/tag41.xml"/><Relationship Id="rId14" Type="http://schemas.openxmlformats.org/officeDocument/2006/relationships/tags" Target="../tags/tag42.xml"/><Relationship Id="rId15" Type="http://schemas.openxmlformats.org/officeDocument/2006/relationships/tags" Target="../tags/tag43.xml"/><Relationship Id="rId16" Type="http://schemas.openxmlformats.org/officeDocument/2006/relationships/tags" Target="../tags/tag44.xml"/><Relationship Id="rId17" Type="http://schemas.openxmlformats.org/officeDocument/2006/relationships/tags" Target="../tags/tag45.xml"/><Relationship Id="rId18" Type="http://schemas.openxmlformats.org/officeDocument/2006/relationships/tags" Target="../tags/tag46.xml"/><Relationship Id="rId19" Type="http://schemas.openxmlformats.org/officeDocument/2006/relationships/tags" Target="../tags/tag47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6.xml"/><Relationship Id="rId47" Type="http://schemas.openxmlformats.org/officeDocument/2006/relationships/tags" Target="../tags/tag107.xml"/><Relationship Id="rId48" Type="http://schemas.openxmlformats.org/officeDocument/2006/relationships/tags" Target="../tags/tag108.xml"/><Relationship Id="rId49" Type="http://schemas.openxmlformats.org/officeDocument/2006/relationships/tags" Target="../tags/tag109.xml"/><Relationship Id="rId20" Type="http://schemas.openxmlformats.org/officeDocument/2006/relationships/tags" Target="../tags/tag80.xml"/><Relationship Id="rId21" Type="http://schemas.openxmlformats.org/officeDocument/2006/relationships/tags" Target="../tags/tag81.xml"/><Relationship Id="rId22" Type="http://schemas.openxmlformats.org/officeDocument/2006/relationships/tags" Target="../tags/tag82.xml"/><Relationship Id="rId23" Type="http://schemas.openxmlformats.org/officeDocument/2006/relationships/tags" Target="../tags/tag83.xml"/><Relationship Id="rId24" Type="http://schemas.openxmlformats.org/officeDocument/2006/relationships/tags" Target="../tags/tag84.xml"/><Relationship Id="rId25" Type="http://schemas.openxmlformats.org/officeDocument/2006/relationships/tags" Target="../tags/tag85.xml"/><Relationship Id="rId26" Type="http://schemas.openxmlformats.org/officeDocument/2006/relationships/tags" Target="../tags/tag86.xml"/><Relationship Id="rId27" Type="http://schemas.openxmlformats.org/officeDocument/2006/relationships/tags" Target="../tags/tag87.xml"/><Relationship Id="rId28" Type="http://schemas.openxmlformats.org/officeDocument/2006/relationships/tags" Target="../tags/tag88.xml"/><Relationship Id="rId29" Type="http://schemas.openxmlformats.org/officeDocument/2006/relationships/tags" Target="../tags/tag89.xml"/><Relationship Id="rId50" Type="http://schemas.openxmlformats.org/officeDocument/2006/relationships/oleObject" Target="../embeddings/oleObject5.bin"/><Relationship Id="rId51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30" Type="http://schemas.openxmlformats.org/officeDocument/2006/relationships/tags" Target="../tags/tag90.xml"/><Relationship Id="rId31" Type="http://schemas.openxmlformats.org/officeDocument/2006/relationships/tags" Target="../tags/tag91.xml"/><Relationship Id="rId32" Type="http://schemas.openxmlformats.org/officeDocument/2006/relationships/tags" Target="../tags/tag92.xml"/><Relationship Id="rId9" Type="http://schemas.openxmlformats.org/officeDocument/2006/relationships/tags" Target="../tags/tag69.xml"/><Relationship Id="rId6" Type="http://schemas.openxmlformats.org/officeDocument/2006/relationships/tags" Target="../tags/tag66.xml"/><Relationship Id="rId7" Type="http://schemas.openxmlformats.org/officeDocument/2006/relationships/tags" Target="../tags/tag67.xml"/><Relationship Id="rId8" Type="http://schemas.openxmlformats.org/officeDocument/2006/relationships/tags" Target="../tags/tag68.xml"/><Relationship Id="rId33" Type="http://schemas.openxmlformats.org/officeDocument/2006/relationships/tags" Target="../tags/tag93.xml"/><Relationship Id="rId34" Type="http://schemas.openxmlformats.org/officeDocument/2006/relationships/tags" Target="../tags/tag94.xml"/><Relationship Id="rId35" Type="http://schemas.openxmlformats.org/officeDocument/2006/relationships/tags" Target="../tags/tag95.xml"/><Relationship Id="rId36" Type="http://schemas.openxmlformats.org/officeDocument/2006/relationships/tags" Target="../tags/tag96.xml"/><Relationship Id="rId10" Type="http://schemas.openxmlformats.org/officeDocument/2006/relationships/tags" Target="../tags/tag70.xml"/><Relationship Id="rId11" Type="http://schemas.openxmlformats.org/officeDocument/2006/relationships/tags" Target="../tags/tag71.xml"/><Relationship Id="rId12" Type="http://schemas.openxmlformats.org/officeDocument/2006/relationships/tags" Target="../tags/tag72.xml"/><Relationship Id="rId13" Type="http://schemas.openxmlformats.org/officeDocument/2006/relationships/tags" Target="../tags/tag73.xml"/><Relationship Id="rId14" Type="http://schemas.openxmlformats.org/officeDocument/2006/relationships/tags" Target="../tags/tag74.xml"/><Relationship Id="rId15" Type="http://schemas.openxmlformats.org/officeDocument/2006/relationships/tags" Target="../tags/tag75.xml"/><Relationship Id="rId16" Type="http://schemas.openxmlformats.org/officeDocument/2006/relationships/tags" Target="../tags/tag76.xml"/><Relationship Id="rId17" Type="http://schemas.openxmlformats.org/officeDocument/2006/relationships/tags" Target="../tags/tag77.xml"/><Relationship Id="rId18" Type="http://schemas.openxmlformats.org/officeDocument/2006/relationships/tags" Target="../tags/tag78.xml"/><Relationship Id="rId19" Type="http://schemas.openxmlformats.org/officeDocument/2006/relationships/tags" Target="../tags/tag79.xml"/><Relationship Id="rId37" Type="http://schemas.openxmlformats.org/officeDocument/2006/relationships/tags" Target="../tags/tag97.xml"/><Relationship Id="rId38" Type="http://schemas.openxmlformats.org/officeDocument/2006/relationships/tags" Target="../tags/tag98.xml"/><Relationship Id="rId39" Type="http://schemas.openxmlformats.org/officeDocument/2006/relationships/tags" Target="../tags/tag99.xml"/><Relationship Id="rId40" Type="http://schemas.openxmlformats.org/officeDocument/2006/relationships/tags" Target="../tags/tag100.xml"/><Relationship Id="rId41" Type="http://schemas.openxmlformats.org/officeDocument/2006/relationships/tags" Target="../tags/tag101.xml"/><Relationship Id="rId42" Type="http://schemas.openxmlformats.org/officeDocument/2006/relationships/tags" Target="../tags/tag102.xml"/><Relationship Id="rId43" Type="http://schemas.openxmlformats.org/officeDocument/2006/relationships/tags" Target="../tags/tag103.xml"/><Relationship Id="rId44" Type="http://schemas.openxmlformats.org/officeDocument/2006/relationships/tags" Target="../tags/tag104.xml"/><Relationship Id="rId45" Type="http://schemas.openxmlformats.org/officeDocument/2006/relationships/tags" Target="../tags/tag105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0.xml"/><Relationship Id="rId21" Type="http://schemas.openxmlformats.org/officeDocument/2006/relationships/tags" Target="../tags/tag131.xml"/><Relationship Id="rId22" Type="http://schemas.openxmlformats.org/officeDocument/2006/relationships/tags" Target="../tags/tag132.xml"/><Relationship Id="rId23" Type="http://schemas.openxmlformats.org/officeDocument/2006/relationships/tags" Target="../tags/tag133.xml"/><Relationship Id="rId24" Type="http://schemas.openxmlformats.org/officeDocument/2006/relationships/tags" Target="../tags/tag134.xml"/><Relationship Id="rId25" Type="http://schemas.openxmlformats.org/officeDocument/2006/relationships/tags" Target="../tags/tag135.xml"/><Relationship Id="rId26" Type="http://schemas.openxmlformats.org/officeDocument/2006/relationships/tags" Target="../tags/tag136.xml"/><Relationship Id="rId27" Type="http://schemas.openxmlformats.org/officeDocument/2006/relationships/tags" Target="../tags/tag137.xml"/><Relationship Id="rId28" Type="http://schemas.openxmlformats.org/officeDocument/2006/relationships/tags" Target="../tags/tag138.xml"/><Relationship Id="rId29" Type="http://schemas.openxmlformats.org/officeDocument/2006/relationships/tags" Target="../tags/tag139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30" Type="http://schemas.openxmlformats.org/officeDocument/2006/relationships/tags" Target="../tags/tag140.xml"/><Relationship Id="rId31" Type="http://schemas.openxmlformats.org/officeDocument/2006/relationships/tags" Target="../tags/tag141.xml"/><Relationship Id="rId32" Type="http://schemas.openxmlformats.org/officeDocument/2006/relationships/tags" Target="../tags/tag142.xml"/><Relationship Id="rId9" Type="http://schemas.openxmlformats.org/officeDocument/2006/relationships/tags" Target="../tags/tag119.xml"/><Relationship Id="rId6" Type="http://schemas.openxmlformats.org/officeDocument/2006/relationships/tags" Target="../tags/tag116.xml"/><Relationship Id="rId7" Type="http://schemas.openxmlformats.org/officeDocument/2006/relationships/tags" Target="../tags/tag117.xml"/><Relationship Id="rId8" Type="http://schemas.openxmlformats.org/officeDocument/2006/relationships/tags" Target="../tags/tag118.xml"/><Relationship Id="rId33" Type="http://schemas.openxmlformats.org/officeDocument/2006/relationships/tags" Target="../tags/tag143.xml"/><Relationship Id="rId34" Type="http://schemas.openxmlformats.org/officeDocument/2006/relationships/tags" Target="../tags/tag144.xml"/><Relationship Id="rId35" Type="http://schemas.openxmlformats.org/officeDocument/2006/relationships/tags" Target="../tags/tag145.xml"/><Relationship Id="rId36" Type="http://schemas.openxmlformats.org/officeDocument/2006/relationships/tags" Target="../tags/tag146.xml"/><Relationship Id="rId10" Type="http://schemas.openxmlformats.org/officeDocument/2006/relationships/tags" Target="../tags/tag120.xml"/><Relationship Id="rId11" Type="http://schemas.openxmlformats.org/officeDocument/2006/relationships/tags" Target="../tags/tag121.xml"/><Relationship Id="rId12" Type="http://schemas.openxmlformats.org/officeDocument/2006/relationships/tags" Target="../tags/tag122.xml"/><Relationship Id="rId13" Type="http://schemas.openxmlformats.org/officeDocument/2006/relationships/tags" Target="../tags/tag123.xml"/><Relationship Id="rId14" Type="http://schemas.openxmlformats.org/officeDocument/2006/relationships/tags" Target="../tags/tag124.xml"/><Relationship Id="rId15" Type="http://schemas.openxmlformats.org/officeDocument/2006/relationships/tags" Target="../tags/tag125.xml"/><Relationship Id="rId16" Type="http://schemas.openxmlformats.org/officeDocument/2006/relationships/tags" Target="../tags/tag126.xml"/><Relationship Id="rId17" Type="http://schemas.openxmlformats.org/officeDocument/2006/relationships/tags" Target="../tags/tag127.xml"/><Relationship Id="rId18" Type="http://schemas.openxmlformats.org/officeDocument/2006/relationships/tags" Target="../tags/tag128.xml"/><Relationship Id="rId19" Type="http://schemas.openxmlformats.org/officeDocument/2006/relationships/tags" Target="../tags/tag129.xml"/><Relationship Id="rId37" Type="http://schemas.openxmlformats.org/officeDocument/2006/relationships/tags" Target="../tags/tag147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3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2249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4/2018 2:29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585" y="6305945"/>
            <a:ext cx="1169647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92249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4/2018 2:29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61583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61585" y="6305945"/>
            <a:ext cx="11601681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942342" y="6328651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16072206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2" name="Slide Elements" hidden="1"/>
          <p:cNvGrpSpPr/>
          <p:nvPr userDrawn="1"/>
        </p:nvGrpSpPr>
        <p:grpSpPr bwMode="gray">
          <a:xfrm>
            <a:off x="161585" y="6305945"/>
            <a:ext cx="11696477" cy="325438"/>
            <a:chOff x="119063" y="6305945"/>
            <a:chExt cx="8618537" cy="325438"/>
          </a:xfrm>
        </p:grpSpPr>
        <p:sp>
          <p:nvSpPr>
            <p:cNvPr id="6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6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65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6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8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75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8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9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3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2" name="Oval 10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Arc 102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89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0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1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2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3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0491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0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8894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tags" Target="../tags/tag158.xml"/><Relationship Id="rId20" Type="http://schemas.openxmlformats.org/officeDocument/2006/relationships/oleObject" Target="../embeddings/oleObject12.bin"/><Relationship Id="rId21" Type="http://schemas.openxmlformats.org/officeDocument/2006/relationships/oleObject" Target="../embeddings/oleObject13.bin"/><Relationship Id="rId22" Type="http://schemas.openxmlformats.org/officeDocument/2006/relationships/oleObject" Target="../embeddings/oleObject14.bin"/><Relationship Id="rId23" Type="http://schemas.openxmlformats.org/officeDocument/2006/relationships/oleObject" Target="../embeddings/oleObject15.bin"/><Relationship Id="rId24" Type="http://schemas.openxmlformats.org/officeDocument/2006/relationships/oleObject" Target="../embeddings/oleObject16.bin"/><Relationship Id="rId25" Type="http://schemas.openxmlformats.org/officeDocument/2006/relationships/oleObject" Target="../embeddings/oleObject17.bin"/><Relationship Id="rId26" Type="http://schemas.openxmlformats.org/officeDocument/2006/relationships/oleObject" Target="../embeddings/oleObject18.bin"/><Relationship Id="rId10" Type="http://schemas.openxmlformats.org/officeDocument/2006/relationships/tags" Target="../tags/tag159.xml"/><Relationship Id="rId11" Type="http://schemas.openxmlformats.org/officeDocument/2006/relationships/tags" Target="../tags/tag160.xml"/><Relationship Id="rId12" Type="http://schemas.openxmlformats.org/officeDocument/2006/relationships/tags" Target="../tags/tag161.xml"/><Relationship Id="rId13" Type="http://schemas.openxmlformats.org/officeDocument/2006/relationships/tags" Target="../tags/tag162.xml"/><Relationship Id="rId14" Type="http://schemas.openxmlformats.org/officeDocument/2006/relationships/slideLayout" Target="../slideLayouts/slideLayout8.xml"/><Relationship Id="rId15" Type="http://schemas.openxmlformats.org/officeDocument/2006/relationships/notesSlide" Target="../notesSlides/notesSlide1.xml"/><Relationship Id="rId16" Type="http://schemas.openxmlformats.org/officeDocument/2006/relationships/oleObject" Target="../embeddings/oleObject10.bin"/><Relationship Id="rId17" Type="http://schemas.openxmlformats.org/officeDocument/2006/relationships/image" Target="../media/image7.wmf"/><Relationship Id="rId18" Type="http://schemas.openxmlformats.org/officeDocument/2006/relationships/oleObject" Target="../embeddings/oleObject11.bin"/><Relationship Id="rId19" Type="http://schemas.openxmlformats.org/officeDocument/2006/relationships/image" Target="../media/image8.wmf"/><Relationship Id="rId1" Type="http://schemas.openxmlformats.org/officeDocument/2006/relationships/vmlDrawing" Target="../drawings/vmlDrawing9.vml"/><Relationship Id="rId2" Type="http://schemas.openxmlformats.org/officeDocument/2006/relationships/tags" Target="../tags/tag151.xml"/><Relationship Id="rId3" Type="http://schemas.openxmlformats.org/officeDocument/2006/relationships/tags" Target="../tags/tag152.xml"/><Relationship Id="rId4" Type="http://schemas.openxmlformats.org/officeDocument/2006/relationships/tags" Target="../tags/tag153.xml"/><Relationship Id="rId5" Type="http://schemas.openxmlformats.org/officeDocument/2006/relationships/tags" Target="../tags/tag154.xml"/><Relationship Id="rId6" Type="http://schemas.openxmlformats.org/officeDocument/2006/relationships/tags" Target="../tags/tag155.xml"/><Relationship Id="rId7" Type="http://schemas.openxmlformats.org/officeDocument/2006/relationships/tags" Target="../tags/tag156.xml"/><Relationship Id="rId8" Type="http://schemas.openxmlformats.org/officeDocument/2006/relationships/tags" Target="../tags/tag1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7819" y="230191"/>
            <a:ext cx="10209983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sia-Pacific Company’s hunter and farmer model makes the client acquisition and retention journey, a smooth one</a:t>
            </a:r>
          </a:p>
        </p:txBody>
      </p:sp>
      <p:sp>
        <p:nvSpPr>
          <p:cNvPr id="105476" name="Separator" hidden="1">
            <a:extLst>
              <a:ext uri="{FF2B5EF4-FFF2-40B4-BE49-F238E27FC236}">
                <a16:creationId xmlns:a16="http://schemas.microsoft.com/office/drawing/2014/main" xmlns="" id="{BBF9227D-D1FE-4D7F-86F3-CB2D6A245234}"/>
              </a:ext>
            </a:extLst>
          </p:cNvPr>
          <p:cNvSpPr>
            <a:spLocks noChangeAspect="1" noChangeShapeType="1"/>
          </p:cNvSpPr>
          <p:nvPr>
            <p:custDataLst>
              <p:tags r:id="rId3"/>
            </p:custDataLst>
          </p:nvPr>
        </p:nvSpPr>
        <p:spPr bwMode="auto">
          <a:xfrm>
            <a:off x="3227389" y="1730375"/>
            <a:ext cx="6511925" cy="15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62" name="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557" y="6539052"/>
            <a:ext cx="68627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600" dirty="0">
                <a:solidFill>
                  <a:schemeClr val="accent6"/>
                </a:solidFill>
                <a:latin typeface="Arial" panose="020B0604020202020204" pitchFamily="34" charset="0"/>
              </a:rPr>
              <a:t>SOURCE: Sales Practice</a:t>
            </a:r>
          </a:p>
        </p:txBody>
      </p:sp>
      <p:sp>
        <p:nvSpPr>
          <p:cNvPr id="105493" name="Rectangle 35">
            <a:extLst>
              <a:ext uri="{FF2B5EF4-FFF2-40B4-BE49-F238E27FC236}">
                <a16:creationId xmlns:a16="http://schemas.microsoft.com/office/drawing/2014/main" xmlns="" id="{35D11F41-36F4-4589-848F-4C29453E4D78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3854" y="3544037"/>
            <a:ext cx="1293604" cy="100027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2009" tIns="72009" rIns="72009" bIns="72009" anchor="ctr" anchorCtr="0">
            <a:no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bg2"/>
              </a:buClr>
            </a:pPr>
            <a:r>
              <a:rPr lang="en-US" altLang="en-US" sz="1200" dirty="0">
                <a:solidFill>
                  <a:schemeClr val="lt1"/>
                </a:solidFill>
                <a:latin typeface="+mn-lt"/>
              </a:rPr>
              <a:t>Skills</a:t>
            </a:r>
          </a:p>
        </p:txBody>
      </p:sp>
      <p:sp>
        <p:nvSpPr>
          <p:cNvPr id="105496" name="Rectangle 38">
            <a:extLst>
              <a:ext uri="{FF2B5EF4-FFF2-40B4-BE49-F238E27FC236}">
                <a16:creationId xmlns:a16="http://schemas.microsoft.com/office/drawing/2014/main" xmlns="" id="{81844ECA-694B-4666-8E2A-3EBDF1121EA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13854" y="4581521"/>
            <a:ext cx="1293604" cy="800219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2009" tIns="72009" rIns="72009" bIns="72009" anchor="ctr" anchorCtr="0">
            <a:no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bg2"/>
              </a:buClr>
            </a:pPr>
            <a:r>
              <a:rPr lang="en-US" altLang="en-US" sz="1200" dirty="0" smtClean="0">
                <a:solidFill>
                  <a:schemeClr val="lt1"/>
                </a:solidFill>
                <a:latin typeface="+mn-lt"/>
              </a:rPr>
              <a:t>Compensation</a:t>
            </a:r>
            <a:endParaRPr lang="en-US" altLang="en-US" sz="1200" dirty="0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613854" y="2526890"/>
            <a:ext cx="1293604" cy="3892334"/>
            <a:chOff x="136525" y="2518087"/>
            <a:chExt cx="1092200" cy="3892334"/>
          </a:xfrm>
        </p:grpSpPr>
        <p:sp>
          <p:nvSpPr>
            <p:cNvPr id="105487" name="Rectangle 25">
              <a:extLst>
                <a:ext uri="{FF2B5EF4-FFF2-40B4-BE49-F238E27FC236}">
                  <a16:creationId xmlns:a16="http://schemas.microsoft.com/office/drawing/2014/main" xmlns="" id="{C097FB2F-E5D8-40C1-93F6-77A1F08B9E85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36525" y="2518087"/>
              <a:ext cx="1092200" cy="97993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72009" tIns="72009" rIns="72009" bIns="72009" anchor="ctr" anchorCtr="0">
              <a:no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bg2"/>
                </a:buClr>
              </a:pPr>
              <a:r>
                <a:rPr lang="en-US" altLang="en-US" sz="1200" dirty="0">
                  <a:solidFill>
                    <a:schemeClr val="lt1"/>
                  </a:solidFill>
                  <a:latin typeface="+mn-lt"/>
                </a:rPr>
                <a:t>Role </a:t>
              </a:r>
            </a:p>
          </p:txBody>
        </p:sp>
        <p:sp>
          <p:nvSpPr>
            <p:cNvPr id="105503" name="Rectangle 45">
              <a:extLst>
                <a:ext uri="{FF2B5EF4-FFF2-40B4-BE49-F238E27FC236}">
                  <a16:creationId xmlns:a16="http://schemas.microsoft.com/office/drawing/2014/main" xmlns="" id="{56145C54-4C4D-4CE8-9F49-06D10E1977B6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36525" y="5410147"/>
              <a:ext cx="1092200" cy="100027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72009" tIns="72009" rIns="72009" bIns="72009" anchor="ctr" anchorCtr="0">
              <a:no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bg2"/>
                </a:buClr>
              </a:pPr>
              <a:r>
                <a:rPr lang="en-US" altLang="en-US" sz="1200" dirty="0">
                  <a:solidFill>
                    <a:schemeClr val="lt1"/>
                  </a:solidFill>
                  <a:latin typeface="+mn-lt"/>
                </a:rPr>
                <a:t>Example</a:t>
              </a:r>
            </a:p>
          </p:txBody>
        </p:sp>
      </p:grpSp>
      <p:sp>
        <p:nvSpPr>
          <p:cNvPr id="97" name="Chevron 96"/>
          <p:cNvSpPr>
            <a:spLocks/>
          </p:cNvSpPr>
          <p:nvPr/>
        </p:nvSpPr>
        <p:spPr>
          <a:xfrm>
            <a:off x="9528404" y="3750650"/>
            <a:ext cx="527120" cy="1224422"/>
          </a:xfrm>
          <a:prstGeom prst="chevron">
            <a:avLst>
              <a:gd name="adj" fmla="val 56206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10072952" y="2306498"/>
            <a:ext cx="1400175" cy="4112726"/>
          </a:xfrm>
          <a:prstGeom prst="rect">
            <a:avLst/>
          </a:prstGeom>
          <a:solidFill>
            <a:schemeClr val="accent2"/>
          </a:solidFill>
          <a:ln>
            <a:solidFill>
              <a:schemeClr val="bg2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671513" eaLnBrk="1" latinLnBrk="0" hangingPunct="1">
              <a:buSzPct val="100000"/>
              <a:defRPr lang="en-US" sz="1200" baseline="0" dirty="0">
                <a:solidFill>
                  <a:schemeClr val="tx1"/>
                </a:solidFill>
                <a:latin typeface="+mn-lt"/>
              </a:defRPr>
            </a:lvl1pPr>
            <a:lvl2pPr marL="145800" lvl="1" indent="-143100" defTabSz="671513" eaLnBrk="1" latinLnBrk="0" hangingPunct="1">
              <a:buChar char="▪"/>
              <a:defRPr lang="en-US" sz="1200" baseline="0" dirty="0">
                <a:solidFill>
                  <a:schemeClr val="tx1"/>
                </a:solidFill>
                <a:latin typeface="+mn-lt"/>
              </a:defRPr>
            </a:lvl2pPr>
            <a:lvl3pPr marL="334800" lvl="2" indent="-186300" defTabSz="671513" eaLnBrk="1" latinLnBrk="0" hangingPunct="1">
              <a:buSzPct val="120000"/>
              <a:buChar char="–"/>
              <a:defRPr lang="en-US" sz="1200" baseline="0" dirty="0">
                <a:solidFill>
                  <a:schemeClr val="tx1"/>
                </a:solidFill>
                <a:latin typeface="+mn-lt"/>
              </a:defRPr>
            </a:lvl3pPr>
            <a:lvl4pPr marL="461700" lvl="3" indent="-116100" defTabSz="671513" eaLnBrk="1" latinLnBrk="0" hangingPunct="1">
              <a:buSzPct val="120000"/>
              <a:buChar char="▫"/>
              <a:defRPr lang="en-US" sz="1200" baseline="0" dirty="0">
                <a:solidFill>
                  <a:schemeClr val="tx1"/>
                </a:solidFill>
                <a:latin typeface="+mn-lt"/>
              </a:defRPr>
            </a:lvl4pPr>
            <a:lvl5pPr marL="561600" lvl="4" indent="-97200" defTabSz="671513" eaLnBrk="1" latinLnBrk="0" hangingPunct="1">
              <a:buSzPct val="89000"/>
              <a:buChar char="-"/>
              <a:defRPr lang="en-US" sz="1200" baseline="0" dirty="0">
                <a:solidFill>
                  <a:schemeClr val="tx1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2"/>
              </a:buClr>
            </a:pPr>
            <a:r>
              <a:rPr lang="en-US" dirty="0">
                <a:solidFill>
                  <a:schemeClr val="lt1"/>
                </a:solidFill>
              </a:rPr>
              <a:t>Client's sales structure steers customers to the right channel</a:t>
            </a:r>
          </a:p>
          <a:p>
            <a:pPr lvl="1">
              <a:buClr>
                <a:schemeClr val="bg2"/>
              </a:buClr>
            </a:pPr>
            <a:endParaRPr lang="en-US" dirty="0">
              <a:solidFill>
                <a:schemeClr val="lt1"/>
              </a:solidFill>
            </a:endParaRPr>
          </a:p>
          <a:p>
            <a:pPr lvl="1">
              <a:buClr>
                <a:schemeClr val="bg2"/>
              </a:buClr>
            </a:pPr>
            <a:r>
              <a:rPr lang="en-US" dirty="0">
                <a:solidFill>
                  <a:schemeClr val="lt1"/>
                </a:solidFill>
              </a:rPr>
              <a:t>Each rep is compensated for common accounts</a:t>
            </a:r>
          </a:p>
          <a:p>
            <a:pPr lvl="1">
              <a:buClr>
                <a:schemeClr val="bg2"/>
              </a:buClr>
            </a:pPr>
            <a:endParaRPr lang="en-US" dirty="0">
              <a:solidFill>
                <a:schemeClr val="lt1"/>
              </a:solidFill>
            </a:endParaRPr>
          </a:p>
          <a:p>
            <a:pPr lvl="1">
              <a:buClr>
                <a:schemeClr val="bg2"/>
              </a:buClr>
            </a:pPr>
            <a:r>
              <a:rPr lang="en-US" dirty="0">
                <a:solidFill>
                  <a:schemeClr val="lt1"/>
                </a:solidFill>
              </a:rPr>
              <a:t>Results in increased compensation for all reps</a:t>
            </a:r>
          </a:p>
        </p:txBody>
      </p:sp>
      <p:grpSp>
        <p:nvGrpSpPr>
          <p:cNvPr id="105478" name="Group 4">
            <a:extLst>
              <a:ext uri="{FF2B5EF4-FFF2-40B4-BE49-F238E27FC236}">
                <a16:creationId xmlns:a16="http://schemas.microsoft.com/office/drawing/2014/main" xmlns="" id="{5F001243-68ED-405C-8D0B-73D633A5B359}"/>
              </a:ext>
            </a:extLst>
          </p:cNvPr>
          <p:cNvGrpSpPr>
            <a:grpSpLocks/>
          </p:cNvGrpSpPr>
          <p:nvPr/>
        </p:nvGrpSpPr>
        <p:grpSpPr bwMode="auto">
          <a:xfrm>
            <a:off x="3287302" y="1843028"/>
            <a:ext cx="771026" cy="636588"/>
            <a:chOff x="1153" y="1873"/>
            <a:chExt cx="696" cy="666"/>
          </a:xfrm>
        </p:grpSpPr>
        <p:sp>
          <p:nvSpPr>
            <p:cNvPr id="105524" name="Oval 5">
              <a:extLst>
                <a:ext uri="{FF2B5EF4-FFF2-40B4-BE49-F238E27FC236}">
                  <a16:creationId xmlns:a16="http://schemas.microsoft.com/office/drawing/2014/main" xmlns="" id="{EAEE6319-F7D3-4628-A147-16A7AEA27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1873"/>
              <a:ext cx="696" cy="666"/>
            </a:xfrm>
            <a:prstGeom prst="ellipse">
              <a:avLst/>
            </a:prstGeom>
            <a:solidFill>
              <a:schemeClr val="hlink"/>
            </a:solidFill>
            <a:ln w="9525">
              <a:round/>
              <a:headEnd/>
              <a:tailEnd/>
            </a:ln>
            <a:effectLst/>
            <a:scene3d>
              <a:camera prst="legacyPerspectiveBottom"/>
              <a:lightRig rig="legacyFlat3" dir="t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hlink"/>
              </a:extrusionClr>
              <a:contourClr>
                <a:schemeClr val="hlink"/>
              </a:contour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1300" dirty="0">
                <a:latin typeface="+mn-lt"/>
              </a:endParaRPr>
            </a:p>
          </p:txBody>
        </p:sp>
        <p:sp>
          <p:nvSpPr>
            <p:cNvPr id="105525" name="Oval 6">
              <a:extLst>
                <a:ext uri="{FF2B5EF4-FFF2-40B4-BE49-F238E27FC236}">
                  <a16:creationId xmlns:a16="http://schemas.microsoft.com/office/drawing/2014/main" xmlns="" id="{4AD029BB-7100-4D24-B862-3B332031EF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1" y="2009"/>
              <a:ext cx="422" cy="42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1300" dirty="0">
                <a:latin typeface="+mn-lt"/>
              </a:endParaRPr>
            </a:p>
          </p:txBody>
        </p:sp>
        <p:sp>
          <p:nvSpPr>
            <p:cNvPr id="105526" name="Oval 7">
              <a:extLst>
                <a:ext uri="{FF2B5EF4-FFF2-40B4-BE49-F238E27FC236}">
                  <a16:creationId xmlns:a16="http://schemas.microsoft.com/office/drawing/2014/main" xmlns="" id="{9B3BCFB9-5BCE-4412-B8BE-0D7FA967DB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" y="2111"/>
              <a:ext cx="219" cy="219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1300" dirty="0">
                <a:latin typeface="+mn-lt"/>
              </a:endParaRPr>
            </a:p>
          </p:txBody>
        </p:sp>
        <p:sp>
          <p:nvSpPr>
            <p:cNvPr id="105527" name="Oval 8">
              <a:extLst>
                <a:ext uri="{FF2B5EF4-FFF2-40B4-BE49-F238E27FC236}">
                  <a16:creationId xmlns:a16="http://schemas.microsoft.com/office/drawing/2014/main" xmlns="" id="{C0C78080-2F45-4350-8ACD-94A7FD6DF840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1476" y="2197"/>
              <a:ext cx="48" cy="46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1300" dirty="0">
                <a:latin typeface="+mn-lt"/>
              </a:endParaRPr>
            </a:p>
          </p:txBody>
        </p:sp>
      </p:grpSp>
      <p:sp>
        <p:nvSpPr>
          <p:cNvPr id="105479" name="Rectangle 9">
            <a:extLst>
              <a:ext uri="{FF2B5EF4-FFF2-40B4-BE49-F238E27FC236}">
                <a16:creationId xmlns:a16="http://schemas.microsoft.com/office/drawing/2014/main" xmlns="" id="{7ED3A6D3-91AB-45DA-BB5A-2EEB38E2F79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12567" y="1535053"/>
            <a:ext cx="1606718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 dirty="0">
                <a:solidFill>
                  <a:schemeClr val="accent2"/>
                </a:solidFill>
                <a:latin typeface="+mn-lt"/>
              </a:rPr>
              <a:t>“</a:t>
            </a:r>
            <a:r>
              <a:rPr lang="en-US" altLang="en-US" sz="1300" b="1" dirty="0">
                <a:solidFill>
                  <a:schemeClr val="accent2"/>
                </a:solidFill>
                <a:latin typeface="+mn-lt"/>
              </a:rPr>
              <a:t>The hunter”</a:t>
            </a:r>
          </a:p>
        </p:txBody>
      </p:sp>
      <p:graphicFrame>
        <p:nvGraphicFramePr>
          <p:cNvPr id="105482" name="Object 12">
            <a:extLst>
              <a:ext uri="{FF2B5EF4-FFF2-40B4-BE49-F238E27FC236}">
                <a16:creationId xmlns:a16="http://schemas.microsoft.com/office/drawing/2014/main" xmlns="" id="{0D03442E-E1E7-4AC2-B2C0-925212B584A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04383498"/>
              </p:ext>
            </p:extLst>
          </p:nvPr>
        </p:nvGraphicFramePr>
        <p:xfrm>
          <a:off x="5054859" y="1843028"/>
          <a:ext cx="257008" cy="574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99" name="Clip" r:id="rId16" imgW="425196" imgH="1108253" progId="MS_ClipArt_Gallery.2">
                  <p:embed/>
                </p:oleObj>
              </mc:Choice>
              <mc:Fallback>
                <p:oleObj name="Clip" r:id="rId16" imgW="425196" imgH="1108253" progId="MS_ClipArt_Gallery.2">
                  <p:embed/>
                  <p:pic>
                    <p:nvPicPr>
                      <p:cNvPr id="105482" name="Object 12">
                        <a:extLst>
                          <a:ext uri="{FF2B5EF4-FFF2-40B4-BE49-F238E27FC236}">
                            <a16:creationId xmlns:a16="http://schemas.microsoft.com/office/drawing/2014/main" xmlns="" id="{0D03442E-E1E7-4AC2-B2C0-925212B584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54859" y="1843028"/>
                        <a:ext cx="257008" cy="5746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483" name="Rectangle 13">
            <a:extLst>
              <a:ext uri="{FF2B5EF4-FFF2-40B4-BE49-F238E27FC236}">
                <a16:creationId xmlns:a16="http://schemas.microsoft.com/office/drawing/2014/main" xmlns="" id="{3C5CC762-F724-4219-9777-8DF3A73CBF41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835159" y="1535053"/>
            <a:ext cx="1608377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 dirty="0">
                <a:solidFill>
                  <a:schemeClr val="accent2"/>
                </a:solidFill>
                <a:latin typeface="+mn-lt"/>
              </a:rPr>
              <a:t>“</a:t>
            </a:r>
            <a:r>
              <a:rPr lang="en-US" altLang="en-US" sz="1300" b="1" dirty="0">
                <a:solidFill>
                  <a:schemeClr val="accent2"/>
                </a:solidFill>
                <a:latin typeface="+mn-lt"/>
              </a:rPr>
              <a:t>The farmer”</a:t>
            </a:r>
          </a:p>
        </p:txBody>
      </p:sp>
      <p:grpSp>
        <p:nvGrpSpPr>
          <p:cNvPr id="105485" name="Group 15">
            <a:extLst>
              <a:ext uri="{FF2B5EF4-FFF2-40B4-BE49-F238E27FC236}">
                <a16:creationId xmlns:a16="http://schemas.microsoft.com/office/drawing/2014/main" xmlns="" id="{FC82CACD-58F4-429F-9F3E-9CD7A0CF81ED}"/>
              </a:ext>
            </a:extLst>
          </p:cNvPr>
          <p:cNvGrpSpPr>
            <a:grpSpLocks/>
          </p:cNvGrpSpPr>
          <p:nvPr/>
        </p:nvGrpSpPr>
        <p:grpSpPr bwMode="auto">
          <a:xfrm>
            <a:off x="5419645" y="1841441"/>
            <a:ext cx="671538" cy="596900"/>
            <a:chOff x="2677" y="1900"/>
            <a:chExt cx="606" cy="624"/>
          </a:xfrm>
        </p:grpSpPr>
        <p:graphicFrame>
          <p:nvGraphicFramePr>
            <p:cNvPr id="105516" name="Object 16">
              <a:extLst>
                <a:ext uri="{FF2B5EF4-FFF2-40B4-BE49-F238E27FC236}">
                  <a16:creationId xmlns:a16="http://schemas.microsoft.com/office/drawing/2014/main" xmlns="" id="{8F6CA404-B106-45C4-9283-BF2C17942577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677" y="2112"/>
            <a:ext cx="164" cy="14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7800" name="Clip" r:id="rId18" imgW="1260043" imgH="1137514" progId="MS_ClipArt_Gallery.2">
                    <p:embed/>
                  </p:oleObj>
                </mc:Choice>
                <mc:Fallback>
                  <p:oleObj name="Clip" r:id="rId18" imgW="1260043" imgH="1137514" progId="MS_ClipArt_Gallery.2">
                    <p:embed/>
                    <p:pic>
                      <p:nvPicPr>
                        <p:cNvPr id="105516" name="Object 16">
                          <a:extLst>
                            <a:ext uri="{FF2B5EF4-FFF2-40B4-BE49-F238E27FC236}">
                              <a16:creationId xmlns:a16="http://schemas.microsoft.com/office/drawing/2014/main" xmlns="" id="{8F6CA404-B106-45C4-9283-BF2C17942577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677" y="2112"/>
                          <a:ext cx="164" cy="14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05517" name="Object 17">
              <a:extLst>
                <a:ext uri="{FF2B5EF4-FFF2-40B4-BE49-F238E27FC236}">
                  <a16:creationId xmlns:a16="http://schemas.microsoft.com/office/drawing/2014/main" xmlns="" id="{E4D5C56E-8FE5-4E10-9E31-A5FDAB92366A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883" y="2112"/>
            <a:ext cx="164" cy="14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7801" name="Clip" r:id="rId20" imgW="1260043" imgH="1137514" progId="MS_ClipArt_Gallery.2">
                    <p:embed/>
                  </p:oleObj>
                </mc:Choice>
                <mc:Fallback>
                  <p:oleObj name="Clip" r:id="rId20" imgW="1260043" imgH="1137514" progId="MS_ClipArt_Gallery.2">
                    <p:embed/>
                    <p:pic>
                      <p:nvPicPr>
                        <p:cNvPr id="105517" name="Object 17">
                          <a:extLst>
                            <a:ext uri="{FF2B5EF4-FFF2-40B4-BE49-F238E27FC236}">
                              <a16:creationId xmlns:a16="http://schemas.microsoft.com/office/drawing/2014/main" xmlns="" id="{E4D5C56E-8FE5-4E10-9E31-A5FDAB92366A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883" y="2112"/>
                          <a:ext cx="164" cy="14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05518" name="Object 18">
              <a:extLst>
                <a:ext uri="{FF2B5EF4-FFF2-40B4-BE49-F238E27FC236}">
                  <a16:creationId xmlns:a16="http://schemas.microsoft.com/office/drawing/2014/main" xmlns="" id="{0C68EC9A-FB89-43AA-858F-672FB7EDE0B3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698" y="2370"/>
            <a:ext cx="164" cy="14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7802" name="Clip" r:id="rId21" imgW="1260043" imgH="1137514" progId="MS_ClipArt_Gallery.2">
                    <p:embed/>
                  </p:oleObj>
                </mc:Choice>
                <mc:Fallback>
                  <p:oleObj name="Clip" r:id="rId21" imgW="1260043" imgH="1137514" progId="MS_ClipArt_Gallery.2">
                    <p:embed/>
                    <p:pic>
                      <p:nvPicPr>
                        <p:cNvPr id="105518" name="Object 18">
                          <a:extLst>
                            <a:ext uri="{FF2B5EF4-FFF2-40B4-BE49-F238E27FC236}">
                              <a16:creationId xmlns:a16="http://schemas.microsoft.com/office/drawing/2014/main" xmlns="" id="{0C68EC9A-FB89-43AA-858F-672FB7EDE0B3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698" y="2370"/>
                          <a:ext cx="164" cy="14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05519" name="Object 19">
              <a:extLst>
                <a:ext uri="{FF2B5EF4-FFF2-40B4-BE49-F238E27FC236}">
                  <a16:creationId xmlns:a16="http://schemas.microsoft.com/office/drawing/2014/main" xmlns="" id="{8507F4F1-CAB5-4D2B-B98C-69D384B0F192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891" y="2376"/>
            <a:ext cx="164" cy="14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7803" name="Clip" r:id="rId22" imgW="1260043" imgH="1137514" progId="MS_ClipArt_Gallery.2">
                    <p:embed/>
                  </p:oleObj>
                </mc:Choice>
                <mc:Fallback>
                  <p:oleObj name="Clip" r:id="rId22" imgW="1260043" imgH="1137514" progId="MS_ClipArt_Gallery.2">
                    <p:embed/>
                    <p:pic>
                      <p:nvPicPr>
                        <p:cNvPr id="105519" name="Object 19">
                          <a:extLst>
                            <a:ext uri="{FF2B5EF4-FFF2-40B4-BE49-F238E27FC236}">
                              <a16:creationId xmlns:a16="http://schemas.microsoft.com/office/drawing/2014/main" xmlns="" id="{8507F4F1-CAB5-4D2B-B98C-69D384B0F192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891" y="2376"/>
                          <a:ext cx="164" cy="14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05520" name="Object 20">
              <a:extLst>
                <a:ext uri="{FF2B5EF4-FFF2-40B4-BE49-F238E27FC236}">
                  <a16:creationId xmlns:a16="http://schemas.microsoft.com/office/drawing/2014/main" xmlns="" id="{45BD2AFB-2E66-4791-B348-ADEB3D17569B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774" y="1900"/>
            <a:ext cx="164" cy="14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7804" name="Clip" r:id="rId23" imgW="1260043" imgH="1137514" progId="MS_ClipArt_Gallery.2">
                    <p:embed/>
                  </p:oleObj>
                </mc:Choice>
                <mc:Fallback>
                  <p:oleObj name="Clip" r:id="rId23" imgW="1260043" imgH="1137514" progId="MS_ClipArt_Gallery.2">
                    <p:embed/>
                    <p:pic>
                      <p:nvPicPr>
                        <p:cNvPr id="105520" name="Object 20">
                          <a:extLst>
                            <a:ext uri="{FF2B5EF4-FFF2-40B4-BE49-F238E27FC236}">
                              <a16:creationId xmlns:a16="http://schemas.microsoft.com/office/drawing/2014/main" xmlns="" id="{45BD2AFB-2E66-4791-B348-ADEB3D17569B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774" y="1900"/>
                          <a:ext cx="164" cy="14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05521" name="Object 21">
              <a:extLst>
                <a:ext uri="{FF2B5EF4-FFF2-40B4-BE49-F238E27FC236}">
                  <a16:creationId xmlns:a16="http://schemas.microsoft.com/office/drawing/2014/main" xmlns="" id="{03766496-3D2B-4AAD-84CF-E96CF6FE90F7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974" y="1900"/>
            <a:ext cx="164" cy="14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7805" name="Clip" r:id="rId24" imgW="1260043" imgH="1137514" progId="MS_ClipArt_Gallery.2">
                    <p:embed/>
                  </p:oleObj>
                </mc:Choice>
                <mc:Fallback>
                  <p:oleObj name="Clip" r:id="rId24" imgW="1260043" imgH="1137514" progId="MS_ClipArt_Gallery.2">
                    <p:embed/>
                    <p:pic>
                      <p:nvPicPr>
                        <p:cNvPr id="105521" name="Object 21">
                          <a:extLst>
                            <a:ext uri="{FF2B5EF4-FFF2-40B4-BE49-F238E27FC236}">
                              <a16:creationId xmlns:a16="http://schemas.microsoft.com/office/drawing/2014/main" xmlns="" id="{03766496-3D2B-4AAD-84CF-E96CF6FE90F7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974" y="1900"/>
                          <a:ext cx="164" cy="14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05522" name="Object 22">
              <a:extLst>
                <a:ext uri="{FF2B5EF4-FFF2-40B4-BE49-F238E27FC236}">
                  <a16:creationId xmlns:a16="http://schemas.microsoft.com/office/drawing/2014/main" xmlns="" id="{FA69CAEF-F10E-47AD-8A0B-A82F9F11AE2C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3084" y="2112"/>
            <a:ext cx="164" cy="14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7806" name="Clip" r:id="rId25" imgW="1260043" imgH="1137514" progId="MS_ClipArt_Gallery.2">
                    <p:embed/>
                  </p:oleObj>
                </mc:Choice>
                <mc:Fallback>
                  <p:oleObj name="Clip" r:id="rId25" imgW="1260043" imgH="1137514" progId="MS_ClipArt_Gallery.2">
                    <p:embed/>
                    <p:pic>
                      <p:nvPicPr>
                        <p:cNvPr id="105522" name="Object 22">
                          <a:extLst>
                            <a:ext uri="{FF2B5EF4-FFF2-40B4-BE49-F238E27FC236}">
                              <a16:creationId xmlns:a16="http://schemas.microsoft.com/office/drawing/2014/main" xmlns="" id="{FA69CAEF-F10E-47AD-8A0B-A82F9F11AE2C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084" y="2112"/>
                          <a:ext cx="164" cy="14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05523" name="Object 23">
              <a:extLst>
                <a:ext uri="{FF2B5EF4-FFF2-40B4-BE49-F238E27FC236}">
                  <a16:creationId xmlns:a16="http://schemas.microsoft.com/office/drawing/2014/main" xmlns="" id="{B4532BB8-9CC4-4BC5-8CE7-4096363513C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3119" y="2376"/>
            <a:ext cx="164" cy="14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7807" name="Clip" r:id="rId26" imgW="1260043" imgH="1137514" progId="MS_ClipArt_Gallery.2">
                    <p:embed/>
                  </p:oleObj>
                </mc:Choice>
                <mc:Fallback>
                  <p:oleObj name="Clip" r:id="rId26" imgW="1260043" imgH="1137514" progId="MS_ClipArt_Gallery.2">
                    <p:embed/>
                    <p:pic>
                      <p:nvPicPr>
                        <p:cNvPr id="105523" name="Object 23">
                          <a:extLst>
                            <a:ext uri="{FF2B5EF4-FFF2-40B4-BE49-F238E27FC236}">
                              <a16:creationId xmlns:a16="http://schemas.microsoft.com/office/drawing/2014/main" xmlns="" id="{B4532BB8-9CC4-4BC5-8CE7-4096363513C6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119" y="2376"/>
                          <a:ext cx="164" cy="14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105486" name="Rectangle 24">
            <a:extLst>
              <a:ext uri="{FF2B5EF4-FFF2-40B4-BE49-F238E27FC236}">
                <a16:creationId xmlns:a16="http://schemas.microsoft.com/office/drawing/2014/main" xmlns="" id="{F717D3AE-C9E0-45F0-8274-59A7EDE2B1C4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759407" y="1535053"/>
            <a:ext cx="1606718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 b="1" dirty="0">
                <a:solidFill>
                  <a:schemeClr val="accent2"/>
                </a:solidFill>
                <a:latin typeface="+mn-lt"/>
              </a:rPr>
              <a:t>“The fulfiller”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6847287" y="1776948"/>
            <a:ext cx="1422149" cy="483593"/>
            <a:chOff x="5311775" y="1724025"/>
            <a:chExt cx="1361579" cy="392113"/>
          </a:xfrm>
          <a:solidFill>
            <a:schemeClr val="accent3"/>
          </a:solidFill>
        </p:grpSpPr>
        <p:sp>
          <p:nvSpPr>
            <p:cNvPr id="105512" name="Rectangle 30">
              <a:extLst>
                <a:ext uri="{FF2B5EF4-FFF2-40B4-BE49-F238E27FC236}">
                  <a16:creationId xmlns:a16="http://schemas.microsoft.com/office/drawing/2014/main" xmlns="" id="{AA9863DB-114E-411F-A7AA-C93DC4B1BF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1775" y="1724025"/>
              <a:ext cx="1361579" cy="392113"/>
            </a:xfrm>
            <a:prstGeom prst="rect">
              <a:avLst/>
            </a:prstGeom>
            <a:grpFill/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en-US" sz="1300" dirty="0">
                <a:latin typeface="+mn-lt"/>
              </a:endParaRPr>
            </a:p>
          </p:txBody>
        </p:sp>
        <p:sp>
          <p:nvSpPr>
            <p:cNvPr id="105513" name="Rectangle 31">
              <a:extLst>
                <a:ext uri="{FF2B5EF4-FFF2-40B4-BE49-F238E27FC236}">
                  <a16:creationId xmlns:a16="http://schemas.microsoft.com/office/drawing/2014/main" xmlns="" id="{EDAD3362-66B8-4BE5-891B-2534AE022415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347231" y="1738313"/>
              <a:ext cx="706022" cy="162211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300" dirty="0">
                  <a:solidFill>
                    <a:schemeClr val="bg2"/>
                  </a:solidFill>
                  <a:latin typeface="+mn-lt"/>
                </a:rPr>
                <a:t>Telesales</a:t>
              </a:r>
            </a:p>
          </p:txBody>
        </p:sp>
        <p:sp>
          <p:nvSpPr>
            <p:cNvPr id="105514" name="Rectangle 32">
              <a:extLst>
                <a:ext uri="{FF2B5EF4-FFF2-40B4-BE49-F238E27FC236}">
                  <a16:creationId xmlns:a16="http://schemas.microsoft.com/office/drawing/2014/main" xmlns="" id="{14E4F804-8930-42DA-81A4-E027BC0A748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253114" y="1882775"/>
              <a:ext cx="392161" cy="162211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300" dirty="0">
                  <a:solidFill>
                    <a:schemeClr val="bg2"/>
                  </a:solidFill>
                  <a:latin typeface="+mn-lt"/>
                </a:rPr>
                <a:t>Web</a:t>
              </a:r>
            </a:p>
          </p:txBody>
        </p:sp>
        <p:sp>
          <p:nvSpPr>
            <p:cNvPr id="105515" name="Line 33">
              <a:extLst>
                <a:ext uri="{FF2B5EF4-FFF2-40B4-BE49-F238E27FC236}">
                  <a16:creationId xmlns:a16="http://schemas.microsoft.com/office/drawing/2014/main" xmlns="" id="{85799EAC-F79F-48DB-8C27-9F1841D8C77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11775" y="1724025"/>
              <a:ext cx="1361579" cy="392113"/>
            </a:xfrm>
            <a:prstGeom prst="line">
              <a:avLst/>
            </a:prstGeom>
            <a:grpFill/>
            <a:ln w="9525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 dirty="0">
                <a:latin typeface="+mn-lt"/>
              </a:endParaRPr>
            </a:p>
          </p:txBody>
        </p:sp>
      </p:grpSp>
      <p:sp>
        <p:nvSpPr>
          <p:cNvPr id="66" name="ACET"/>
          <p:cNvSpPr>
            <a:spLocks noChangeArrowheads="1"/>
          </p:cNvSpPr>
          <p:nvPr/>
        </p:nvSpPr>
        <p:spPr bwMode="gray">
          <a:xfrm>
            <a:off x="2912567" y="1259382"/>
            <a:ext cx="1606718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300" dirty="0">
                <a:solidFill>
                  <a:schemeClr val="accent2"/>
                </a:solidFill>
                <a:latin typeface="+mn-lt"/>
              </a:rPr>
              <a:t>Step 1</a:t>
            </a:r>
          </a:p>
        </p:txBody>
      </p:sp>
      <p:grpSp>
        <p:nvGrpSpPr>
          <p:cNvPr id="67" name="Group 66"/>
          <p:cNvGrpSpPr>
            <a:grpSpLocks/>
          </p:cNvGrpSpPr>
          <p:nvPr/>
        </p:nvGrpSpPr>
        <p:grpSpPr>
          <a:xfrm>
            <a:off x="4835159" y="1259382"/>
            <a:ext cx="1608377" cy="218521"/>
            <a:chOff x="719888" y="1745199"/>
            <a:chExt cx="2834498" cy="218521"/>
          </a:xfrm>
        </p:grpSpPr>
        <p:cxnSp>
          <p:nvCxnSpPr>
            <p:cNvPr id="68" name="AutoShape 249"/>
            <p:cNvCxnSpPr>
              <a:cxnSpLocks noChangeShapeType="1"/>
            </p:cNvCxnSpPr>
            <p:nvPr/>
          </p:nvCxnSpPr>
          <p:spPr bwMode="gray">
            <a:xfrm>
              <a:off x="719888" y="1963720"/>
              <a:ext cx="2834498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CET"/>
            <p:cNvSpPr>
              <a:spLocks noChangeArrowheads="1"/>
            </p:cNvSpPr>
            <p:nvPr/>
          </p:nvSpPr>
          <p:spPr bwMode="gray">
            <a:xfrm>
              <a:off x="719888" y="1745199"/>
              <a:ext cx="2834498" cy="218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300" dirty="0">
                  <a:solidFill>
                    <a:schemeClr val="accent2"/>
                  </a:solidFill>
                  <a:latin typeface="+mn-lt"/>
                </a:rPr>
                <a:t>Step 2</a:t>
              </a:r>
            </a:p>
          </p:txBody>
        </p:sp>
      </p:grpSp>
      <p:cxnSp>
        <p:nvCxnSpPr>
          <p:cNvPr id="65" name="AutoShape 249"/>
          <p:cNvCxnSpPr>
            <a:cxnSpLocks noChangeShapeType="1"/>
          </p:cNvCxnSpPr>
          <p:nvPr/>
        </p:nvCxnSpPr>
        <p:spPr bwMode="gray">
          <a:xfrm>
            <a:off x="2912567" y="1477903"/>
            <a:ext cx="1606718" cy="0"/>
          </a:xfrm>
          <a:prstGeom prst="straightConnector1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70" name="Group 69"/>
          <p:cNvGrpSpPr>
            <a:grpSpLocks/>
          </p:cNvGrpSpPr>
          <p:nvPr/>
        </p:nvGrpSpPr>
        <p:grpSpPr>
          <a:xfrm>
            <a:off x="6759407" y="1259382"/>
            <a:ext cx="1606718" cy="218521"/>
            <a:chOff x="719888" y="1745199"/>
            <a:chExt cx="2834498" cy="218521"/>
          </a:xfrm>
        </p:grpSpPr>
        <p:cxnSp>
          <p:nvCxnSpPr>
            <p:cNvPr id="71" name="AutoShape 249"/>
            <p:cNvCxnSpPr>
              <a:cxnSpLocks noChangeShapeType="1"/>
            </p:cNvCxnSpPr>
            <p:nvPr/>
          </p:nvCxnSpPr>
          <p:spPr bwMode="gray">
            <a:xfrm>
              <a:off x="719888" y="1963720"/>
              <a:ext cx="2834498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2" name="ACET"/>
            <p:cNvSpPr>
              <a:spLocks noChangeArrowheads="1"/>
            </p:cNvSpPr>
            <p:nvPr/>
          </p:nvSpPr>
          <p:spPr bwMode="gray">
            <a:xfrm>
              <a:off x="719888" y="1745199"/>
              <a:ext cx="2834498" cy="218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300" dirty="0">
                  <a:solidFill>
                    <a:schemeClr val="accent2"/>
                  </a:solidFill>
                  <a:latin typeface="+mn-lt"/>
                </a:rPr>
                <a:t>Step 3</a:t>
              </a:r>
            </a:p>
          </p:txBody>
        </p:sp>
      </p:grpSp>
      <p:grpSp>
        <p:nvGrpSpPr>
          <p:cNvPr id="31" name="Group 30"/>
          <p:cNvGrpSpPr>
            <a:grpSpLocks/>
          </p:cNvGrpSpPr>
          <p:nvPr/>
        </p:nvGrpSpPr>
        <p:grpSpPr>
          <a:xfrm>
            <a:off x="2153264" y="2639583"/>
            <a:ext cx="7207045" cy="738664"/>
            <a:chOff x="1544638" y="2393633"/>
            <a:chExt cx="5221287" cy="738664"/>
          </a:xfrm>
        </p:grpSpPr>
        <p:sp>
          <p:nvSpPr>
            <p:cNvPr id="4" name="TextBox 3"/>
            <p:cNvSpPr txBox="1">
              <a:spLocks/>
            </p:cNvSpPr>
            <p:nvPr/>
          </p:nvSpPr>
          <p:spPr>
            <a:xfrm>
              <a:off x="1544638" y="2393633"/>
              <a:ext cx="1538287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71513" eaLnBrk="1" latinLnBrk="0" hangingPunct="1">
                <a:buSzPct val="100000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1pPr>
              <a:lvl2pPr marL="145800" lvl="1" indent="-143100" defTabSz="671513" eaLnBrk="1" latinLnBrk="0" hangingPunct="1">
                <a:buChar char="▪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2pPr>
              <a:lvl3pPr marL="334800" lvl="2" indent="-186300" defTabSz="671513" eaLnBrk="1" latinLnBrk="0" hangingPunct="1">
                <a:buSzPct val="120000"/>
                <a:buChar char="–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3pPr>
              <a:lvl4pPr marL="461700" lvl="3" indent="-116100" defTabSz="671513" eaLnBrk="1" latinLnBrk="0" hangingPunct="1">
                <a:buSzPct val="120000"/>
                <a:buChar char="▫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4pPr>
              <a:lvl5pPr marL="561600" lvl="4" indent="-97200" defTabSz="671513" eaLnBrk="1" latinLnBrk="0" hangingPunct="1">
                <a:buSzPct val="89000"/>
                <a:buChar char="-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/>
              <a:r>
                <a:rPr lang="en-US" dirty="0"/>
                <a:t>Introduce new customer to Client and its products</a:t>
              </a:r>
            </a:p>
          </p:txBody>
        </p:sp>
        <p:sp>
          <p:nvSpPr>
            <p:cNvPr id="6" name="TextBox 5"/>
            <p:cNvSpPr txBox="1">
              <a:spLocks/>
            </p:cNvSpPr>
            <p:nvPr/>
          </p:nvSpPr>
          <p:spPr>
            <a:xfrm>
              <a:off x="3385345" y="2393633"/>
              <a:ext cx="1539875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71513" eaLnBrk="1" latinLnBrk="0" hangingPunct="1">
                <a:buSzPct val="100000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1pPr>
              <a:lvl2pPr marL="145800" lvl="1" indent="-143100" defTabSz="671513" eaLnBrk="1" latinLnBrk="0" hangingPunct="1">
                <a:buChar char="▪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2pPr>
              <a:lvl3pPr marL="334800" lvl="2" indent="-186300" defTabSz="671513" eaLnBrk="1" latinLnBrk="0" hangingPunct="1">
                <a:buSzPct val="120000"/>
                <a:buChar char="–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3pPr>
              <a:lvl4pPr marL="461700" lvl="3" indent="-116100" defTabSz="671513" eaLnBrk="1" latinLnBrk="0" hangingPunct="1">
                <a:buSzPct val="120000"/>
                <a:buChar char="▫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4pPr>
              <a:lvl5pPr marL="561600" lvl="4" indent="-97200" defTabSz="671513" eaLnBrk="1" latinLnBrk="0" hangingPunct="1">
                <a:buSzPct val="89000"/>
                <a:buChar char="-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/>
              <a:r>
                <a:rPr lang="en-US" dirty="0"/>
                <a:t>Network throughout an organization to understand needs and develop solution</a:t>
              </a:r>
            </a:p>
          </p:txBody>
        </p:sp>
        <p:sp>
          <p:nvSpPr>
            <p:cNvPr id="20" name="TextBox 19"/>
            <p:cNvSpPr txBox="1">
              <a:spLocks/>
            </p:cNvSpPr>
            <p:nvPr/>
          </p:nvSpPr>
          <p:spPr>
            <a:xfrm>
              <a:off x="5227638" y="2393633"/>
              <a:ext cx="1538287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71513" eaLnBrk="1" latinLnBrk="0" hangingPunct="1">
                <a:buSzPct val="100000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1pPr>
              <a:lvl2pPr marL="145800" lvl="1" indent="-143100" defTabSz="671513" eaLnBrk="1" latinLnBrk="0" hangingPunct="1">
                <a:buChar char="▪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2pPr>
              <a:lvl3pPr marL="334800" lvl="2" indent="-186300" defTabSz="671513" eaLnBrk="1" latinLnBrk="0" hangingPunct="1">
                <a:buSzPct val="120000"/>
                <a:buChar char="–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3pPr>
              <a:lvl4pPr marL="461700" lvl="3" indent="-116100" defTabSz="671513" eaLnBrk="1" latinLnBrk="0" hangingPunct="1">
                <a:buSzPct val="120000"/>
                <a:buChar char="▫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4pPr>
              <a:lvl5pPr marL="561600" lvl="4" indent="-97200" defTabSz="671513" eaLnBrk="1" latinLnBrk="0" hangingPunct="1">
                <a:buSzPct val="89000"/>
                <a:buChar char="-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/>
              <a:r>
                <a:rPr lang="en-US" dirty="0"/>
                <a:t>Provide information; track orders; register problems; contact outsourced service</a:t>
              </a:r>
            </a:p>
          </p:txBody>
        </p:sp>
      </p:grpSp>
      <p:grpSp>
        <p:nvGrpSpPr>
          <p:cNvPr id="32" name="Group 31"/>
          <p:cNvGrpSpPr>
            <a:grpSpLocks/>
          </p:cNvGrpSpPr>
          <p:nvPr/>
        </p:nvGrpSpPr>
        <p:grpSpPr>
          <a:xfrm>
            <a:off x="2153264" y="3622775"/>
            <a:ext cx="7207045" cy="923330"/>
            <a:chOff x="1544638" y="3575050"/>
            <a:chExt cx="5221287" cy="923330"/>
          </a:xfrm>
        </p:grpSpPr>
        <p:sp>
          <p:nvSpPr>
            <p:cNvPr id="8" name="TextBox 7"/>
            <p:cNvSpPr txBox="1">
              <a:spLocks/>
            </p:cNvSpPr>
            <p:nvPr/>
          </p:nvSpPr>
          <p:spPr>
            <a:xfrm>
              <a:off x="1544638" y="3575050"/>
              <a:ext cx="1538287" cy="9233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71513" eaLnBrk="1" latinLnBrk="0" hangingPunct="1">
                <a:buSzPct val="100000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1pPr>
              <a:lvl2pPr marL="145800" lvl="1" indent="-143100" defTabSz="671513" eaLnBrk="1" latinLnBrk="0" hangingPunct="1">
                <a:buChar char="▪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2pPr>
              <a:lvl3pPr marL="334800" lvl="2" indent="-186300" defTabSz="671513" eaLnBrk="1" latinLnBrk="0" hangingPunct="1">
                <a:buSzPct val="120000"/>
                <a:buChar char="–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3pPr>
              <a:lvl4pPr marL="461700" lvl="3" indent="-116100" defTabSz="671513" eaLnBrk="1" latinLnBrk="0" hangingPunct="1">
                <a:buSzPct val="120000"/>
                <a:buChar char="▫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4pPr>
              <a:lvl5pPr marL="561600" lvl="4" indent="-97200" defTabSz="671513" eaLnBrk="1" latinLnBrk="0" hangingPunct="1">
                <a:buSzPct val="89000"/>
                <a:buChar char="-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/>
              <a:r>
                <a:rPr lang="en-US" dirty="0"/>
                <a:t>Can "close" a cold call – capable of working with extremely senior executives</a:t>
              </a:r>
            </a:p>
          </p:txBody>
        </p:sp>
        <p:sp>
          <p:nvSpPr>
            <p:cNvPr id="10" name="TextBox 9"/>
            <p:cNvSpPr txBox="1">
              <a:spLocks/>
            </p:cNvSpPr>
            <p:nvPr/>
          </p:nvSpPr>
          <p:spPr>
            <a:xfrm>
              <a:off x="3385345" y="3575050"/>
              <a:ext cx="1539875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71513" eaLnBrk="1" latinLnBrk="0" hangingPunct="1">
                <a:buSzPct val="100000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1pPr>
              <a:lvl2pPr marL="145800" lvl="1" indent="-143100" defTabSz="671513" eaLnBrk="1" latinLnBrk="0" hangingPunct="1">
                <a:buChar char="▪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2pPr>
              <a:lvl3pPr marL="334800" lvl="2" indent="-186300" defTabSz="671513" eaLnBrk="1" latinLnBrk="0" hangingPunct="1">
                <a:buSzPct val="120000"/>
                <a:buChar char="–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3pPr>
              <a:lvl4pPr marL="461700" lvl="3" indent="-116100" defTabSz="671513" eaLnBrk="1" latinLnBrk="0" hangingPunct="1">
                <a:buSzPct val="120000"/>
                <a:buChar char="▫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4pPr>
              <a:lvl5pPr marL="561600" lvl="4" indent="-97200" defTabSz="671513" eaLnBrk="1" latinLnBrk="0" hangingPunct="1">
                <a:buSzPct val="89000"/>
                <a:buChar char="-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/>
              <a:r>
                <a:rPr lang="en-US" dirty="0"/>
                <a:t>Organized; capable of generating, forecasting, and monitoring orders</a:t>
              </a:r>
            </a:p>
          </p:txBody>
        </p:sp>
        <p:sp>
          <p:nvSpPr>
            <p:cNvPr id="22" name="TextBox 21"/>
            <p:cNvSpPr txBox="1">
              <a:spLocks/>
            </p:cNvSpPr>
            <p:nvPr/>
          </p:nvSpPr>
          <p:spPr>
            <a:xfrm>
              <a:off x="5227638" y="3575050"/>
              <a:ext cx="1538287" cy="9233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71513" eaLnBrk="1" latinLnBrk="0" hangingPunct="1">
                <a:buSzPct val="100000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1pPr>
              <a:lvl2pPr marL="145800" lvl="1" indent="-143100" defTabSz="671513" eaLnBrk="1" latinLnBrk="0" hangingPunct="1">
                <a:buChar char="▪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2pPr>
              <a:lvl3pPr marL="334800" lvl="2" indent="-186300" defTabSz="671513" eaLnBrk="1" latinLnBrk="0" hangingPunct="1">
                <a:buSzPct val="120000"/>
                <a:buChar char="–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3pPr>
              <a:lvl4pPr marL="461700" lvl="3" indent="-116100" defTabSz="671513" eaLnBrk="1" latinLnBrk="0" hangingPunct="1">
                <a:buSzPct val="120000"/>
                <a:buChar char="▫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4pPr>
              <a:lvl5pPr marL="561600" lvl="4" indent="-97200" defTabSz="671513" eaLnBrk="1" latinLnBrk="0" hangingPunct="1">
                <a:buSzPct val="89000"/>
                <a:buChar char="-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/>
              <a:r>
                <a:rPr lang="en-US" dirty="0"/>
                <a:t>Always available; understands how Client support can solve customer needs</a:t>
              </a:r>
            </a:p>
          </p:txBody>
        </p:sp>
      </p:grpSp>
      <p:grpSp>
        <p:nvGrpSpPr>
          <p:cNvPr id="33" name="Group 32"/>
          <p:cNvGrpSpPr>
            <a:grpSpLocks/>
          </p:cNvGrpSpPr>
          <p:nvPr/>
        </p:nvGrpSpPr>
        <p:grpSpPr>
          <a:xfrm>
            <a:off x="2153264" y="4691599"/>
            <a:ext cx="7207045" cy="738664"/>
            <a:chOff x="1544638" y="4578350"/>
            <a:chExt cx="5221287" cy="738664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544638" y="4578350"/>
              <a:ext cx="1538287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71513" eaLnBrk="1" latinLnBrk="0" hangingPunct="1">
                <a:buSzPct val="100000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1pPr>
              <a:lvl2pPr marL="145800" lvl="1" indent="-143100" defTabSz="671513" eaLnBrk="1" latinLnBrk="0" hangingPunct="1">
                <a:buChar char="▪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2pPr>
              <a:lvl3pPr marL="334800" lvl="2" indent="-186300" defTabSz="671513" eaLnBrk="1" latinLnBrk="0" hangingPunct="1">
                <a:buSzPct val="120000"/>
                <a:buChar char="–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3pPr>
              <a:lvl4pPr marL="461700" lvl="3" indent="-116100" defTabSz="671513" eaLnBrk="1" latinLnBrk="0" hangingPunct="1">
                <a:buSzPct val="120000"/>
                <a:buChar char="▫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4pPr>
              <a:lvl5pPr marL="561600" lvl="4" indent="-97200" defTabSz="671513" eaLnBrk="1" latinLnBrk="0" hangingPunct="1">
                <a:buSzPct val="89000"/>
                <a:buChar char="-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/>
              <a:r>
                <a:rPr lang="en-US" dirty="0"/>
                <a:t>Significant compensation for "landing" new account</a:t>
              </a: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3385345" y="4578350"/>
              <a:ext cx="1539875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71513" eaLnBrk="1" latinLnBrk="0" hangingPunct="1">
                <a:buSzPct val="100000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1pPr>
              <a:lvl2pPr marL="145800" lvl="1" indent="-143100" defTabSz="671513" eaLnBrk="1" latinLnBrk="0" hangingPunct="1">
                <a:buChar char="▪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2pPr>
              <a:lvl3pPr marL="334800" lvl="2" indent="-186300" defTabSz="671513" eaLnBrk="1" latinLnBrk="0" hangingPunct="1">
                <a:buSzPct val="120000"/>
                <a:buChar char="–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3pPr>
              <a:lvl4pPr marL="461700" lvl="3" indent="-116100" defTabSz="671513" eaLnBrk="1" latinLnBrk="0" hangingPunct="1">
                <a:buSzPct val="120000"/>
                <a:buChar char="▫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4pPr>
              <a:lvl5pPr marL="561600" lvl="4" indent="-97200" defTabSz="671513" eaLnBrk="1" latinLnBrk="0" hangingPunct="1">
                <a:buSzPct val="89000"/>
                <a:buChar char="-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/>
              <a:r>
                <a:rPr lang="en-US" dirty="0"/>
                <a:t>Paid against growth within accounts</a:t>
              </a:r>
            </a:p>
          </p:txBody>
        </p:sp>
        <p:sp>
          <p:nvSpPr>
            <p:cNvPr id="24" name="TextBox 23"/>
            <p:cNvSpPr txBox="1">
              <a:spLocks/>
            </p:cNvSpPr>
            <p:nvPr/>
          </p:nvSpPr>
          <p:spPr>
            <a:xfrm>
              <a:off x="5227638" y="4578350"/>
              <a:ext cx="1538287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71513" eaLnBrk="1" latinLnBrk="0" hangingPunct="1">
                <a:buSzPct val="100000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1pPr>
              <a:lvl2pPr marL="145800" lvl="1" indent="-143100" defTabSz="671513" eaLnBrk="1" latinLnBrk="0" hangingPunct="1">
                <a:buChar char="▪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2pPr>
              <a:lvl3pPr marL="334800" lvl="2" indent="-186300" defTabSz="671513" eaLnBrk="1" latinLnBrk="0" hangingPunct="1">
                <a:buSzPct val="120000"/>
                <a:buChar char="–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3pPr>
              <a:lvl4pPr marL="461700" lvl="3" indent="-116100" defTabSz="671513" eaLnBrk="1" latinLnBrk="0" hangingPunct="1">
                <a:buSzPct val="120000"/>
                <a:buChar char="▫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4pPr>
              <a:lvl5pPr marL="561600" lvl="4" indent="-97200" defTabSz="671513" eaLnBrk="1" latinLnBrk="0" hangingPunct="1">
                <a:buSzPct val="89000"/>
                <a:buChar char="-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/>
              <a:r>
                <a:rPr lang="en-US" dirty="0"/>
                <a:t>Paid against growth within accounts</a:t>
              </a:r>
            </a:p>
          </p:txBody>
        </p:sp>
      </p:grpSp>
      <p:grpSp>
        <p:nvGrpSpPr>
          <p:cNvPr id="34" name="Group 33"/>
          <p:cNvGrpSpPr>
            <a:grpSpLocks/>
          </p:cNvGrpSpPr>
          <p:nvPr/>
        </p:nvGrpSpPr>
        <p:grpSpPr>
          <a:xfrm>
            <a:off x="2153264" y="5594074"/>
            <a:ext cx="7207045" cy="738664"/>
            <a:chOff x="1544638" y="5506085"/>
            <a:chExt cx="5221287" cy="738664"/>
          </a:xfrm>
        </p:grpSpPr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544638" y="5506085"/>
              <a:ext cx="1538287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71513" eaLnBrk="1" latinLnBrk="0" hangingPunct="1">
                <a:buSzPct val="100000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1pPr>
              <a:lvl2pPr marL="145800" lvl="1" indent="-143100" defTabSz="671513" eaLnBrk="1" latinLnBrk="0" hangingPunct="1">
                <a:buChar char="▪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2pPr>
              <a:lvl3pPr marL="334800" lvl="2" indent="-186300" defTabSz="671513" eaLnBrk="1" latinLnBrk="0" hangingPunct="1">
                <a:buSzPct val="120000"/>
                <a:buChar char="–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3pPr>
              <a:lvl4pPr marL="461700" lvl="3" indent="-116100" defTabSz="671513" eaLnBrk="1" latinLnBrk="0" hangingPunct="1">
                <a:buSzPct val="120000"/>
                <a:buChar char="▫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4pPr>
              <a:lvl5pPr marL="561600" lvl="4" indent="-97200" defTabSz="671513" eaLnBrk="1" latinLnBrk="0" hangingPunct="1">
                <a:buSzPct val="89000"/>
                <a:buChar char="-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/>
              <a:r>
                <a:rPr lang="en-US" dirty="0"/>
                <a:t>Targets Ace Hardware and develops into new account</a:t>
              </a: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3385345" y="5506085"/>
              <a:ext cx="1539875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71513" eaLnBrk="1" latinLnBrk="0" hangingPunct="1">
                <a:buSzPct val="100000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1pPr>
              <a:lvl2pPr marL="145800" lvl="1" indent="-143100" defTabSz="671513" eaLnBrk="1" latinLnBrk="0" hangingPunct="1">
                <a:buChar char="▪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2pPr>
              <a:lvl3pPr marL="334800" lvl="2" indent="-186300" defTabSz="671513" eaLnBrk="1" latinLnBrk="0" hangingPunct="1">
                <a:buSzPct val="120000"/>
                <a:buChar char="–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3pPr>
              <a:lvl4pPr marL="461700" lvl="3" indent="-116100" defTabSz="671513" eaLnBrk="1" latinLnBrk="0" hangingPunct="1">
                <a:buSzPct val="120000"/>
                <a:buChar char="▫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4pPr>
              <a:lvl5pPr marL="561600" lvl="4" indent="-97200" defTabSz="671513" eaLnBrk="1" latinLnBrk="0" hangingPunct="1">
                <a:buSzPct val="89000"/>
                <a:buChar char="-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/>
              <a:r>
                <a:rPr lang="en-US" dirty="0"/>
                <a:t>Assigned to grow Client's business at Ace Hardware</a:t>
              </a: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5227638" y="5506085"/>
              <a:ext cx="1538287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71513" eaLnBrk="1" latinLnBrk="0" hangingPunct="1">
                <a:buSzPct val="100000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1pPr>
              <a:lvl2pPr marL="145800" lvl="1" indent="-143100" defTabSz="671513" eaLnBrk="1" latinLnBrk="0" hangingPunct="1">
                <a:buChar char="▪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2pPr>
              <a:lvl3pPr marL="334800" lvl="2" indent="-186300" defTabSz="671513" eaLnBrk="1" latinLnBrk="0" hangingPunct="1">
                <a:buSzPct val="120000"/>
                <a:buChar char="–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3pPr>
              <a:lvl4pPr marL="461700" lvl="3" indent="-116100" defTabSz="671513" eaLnBrk="1" latinLnBrk="0" hangingPunct="1">
                <a:buSzPct val="120000"/>
                <a:buChar char="▫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4pPr>
              <a:lvl5pPr marL="561600" lvl="4" indent="-97200" defTabSz="671513" eaLnBrk="1" latinLnBrk="0" hangingPunct="1">
                <a:buSzPct val="89000"/>
                <a:buChar char="-"/>
                <a:defRPr lang="en-US" sz="1200" baseline="0" dirty="0">
                  <a:solidFill>
                    <a:schemeClr val="tx1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/>
              <a:r>
                <a:rPr lang="en-US" dirty="0"/>
                <a:t>Manages day-to-day contact with Ace account; alerts field rep to new activities</a:t>
              </a:r>
            </a:p>
          </p:txBody>
        </p:sp>
      </p:grpSp>
      <p:sp>
        <p:nvSpPr>
          <p:cNvPr id="98" name="Chevron 97"/>
          <p:cNvSpPr>
            <a:spLocks/>
          </p:cNvSpPr>
          <p:nvPr/>
        </p:nvSpPr>
        <p:spPr>
          <a:xfrm>
            <a:off x="6526572" y="1958477"/>
            <a:ext cx="149800" cy="224509"/>
          </a:xfrm>
          <a:prstGeom prst="chevron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9" name="Chevron 98"/>
          <p:cNvSpPr>
            <a:spLocks/>
          </p:cNvSpPr>
          <p:nvPr/>
        </p:nvSpPr>
        <p:spPr>
          <a:xfrm>
            <a:off x="4602322" y="1958477"/>
            <a:ext cx="149800" cy="224509"/>
          </a:xfrm>
          <a:prstGeom prst="chevron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07" name="Straight Connector 106"/>
          <p:cNvCxnSpPr>
            <a:cxnSpLocks/>
          </p:cNvCxnSpPr>
          <p:nvPr/>
        </p:nvCxnSpPr>
        <p:spPr>
          <a:xfrm>
            <a:off x="2153264" y="3456985"/>
            <a:ext cx="729553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13">
            <a:extLst>
              <a:ext uri="{FF2B5EF4-FFF2-40B4-BE49-F238E27FC236}">
                <a16:creationId xmlns:a16="http://schemas.microsoft.com/office/drawing/2014/main" xmlns="" id="{76162024-D13E-5246-A412-D40C3498E0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-22733"/>
            <a:ext cx="1311321" cy="168398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TMT | Asia-Pacifi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76" name="Rectangle 13">
            <a:extLst>
              <a:ext uri="{FF2B5EF4-FFF2-40B4-BE49-F238E27FC236}">
                <a16:creationId xmlns:a16="http://schemas.microsoft.com/office/drawing/2014/main" xmlns="" id="{B8110022-2345-D54C-96D0-255AD0F487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432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HIT023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73" name="Straight Connector 72"/>
          <p:cNvCxnSpPr>
            <a:cxnSpLocks/>
          </p:cNvCxnSpPr>
          <p:nvPr/>
        </p:nvCxnSpPr>
        <p:spPr>
          <a:xfrm>
            <a:off x="2153264" y="4481383"/>
            <a:ext cx="729553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>
            <a:cxnSpLocks/>
          </p:cNvCxnSpPr>
          <p:nvPr/>
        </p:nvCxnSpPr>
        <p:spPr>
          <a:xfrm>
            <a:off x="2153264" y="5345631"/>
            <a:ext cx="729553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6556003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PREVIOUSNAME" val="Presentation7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ORK_AREA" val="Standar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157.62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187</Words>
  <Application>Microsoft Macintosh PowerPoint</Application>
  <PresentationFormat>Custom</PresentationFormat>
  <Paragraphs>3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Times New Roman</vt:lpstr>
      <vt:lpstr>Arial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Clip</vt:lpstr>
      <vt:lpstr>Asia-Pacific Company’s hunter and farmer model makes the client acquisition and retention journey, a smooth one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8-05-24T12:29:16Z</dcterms:created>
  <dcterms:modified xsi:type="dcterms:W3CDTF">2019-05-01T22:10:50Z</dcterms:modified>
  <cp:category/>
  <cp:contentStatus/>
  <dc:language/>
  <cp:version/>
</cp:coreProperties>
</file>